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 autoCompressPictures="0">
  <p:sldMasterIdLst>
    <p:sldMasterId id="2147483648" r:id="rId1"/>
    <p:sldMasterId id="2147483649" r:id="rId2"/>
  </p:sldMasterIdLst>
  <p:notesMasterIdLst>
    <p:notesMasterId r:id="rId11"/>
  </p:notesMasterIdLst>
  <p:sldIdLst>
    <p:sldId id="256" r:id="rId3"/>
    <p:sldId id="257" r:id="rId4"/>
    <p:sldId id="258" r:id="rId5"/>
    <p:sldId id="264" r:id="rId6"/>
    <p:sldId id="265" r:id="rId7"/>
    <p:sldId id="269" r:id="rId8"/>
    <p:sldId id="270" r:id="rId9"/>
    <p:sldId id="268" r:id="rId10"/>
  </p:sldIdLst>
  <p:sldSz cx="12192000" cy="6858000"/>
  <p:notesSz cx="6797675" cy="9928225"/>
  <p:defaultTextStyle>
    <a:defPPr lvl="0">
      <a:defRPr lang="en-US"/>
    </a:defPPr>
    <a:lvl1pPr marL="0" lv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lvl="1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lvl="2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lvl="3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lvl="4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lvl="5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lvl="6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lvl="7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lvl="8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756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pPr/>
              <a:t>11/27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вопросам налогообложения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ропользователей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ручения Главы государства по вопросам стимулирования инвестиций в экономик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278674" y="1092962"/>
            <a:ext cx="11660778" cy="2167962"/>
            <a:chOff x="3877721" y="1160406"/>
            <a:chExt cx="4330437" cy="3722069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3877721" y="1923397"/>
              <a:ext cx="4330437" cy="29590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Известно, что в Казахстане хорошо развита добывающая промышленность. Этот сектор выступает надежным источником роста национальной экономики. Так должно быть и впредь.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Отдельного внимания требует геологоразведка. … в нашей богатой ресурсами стране долгое время не было значимых геологических открытий. Ситуацию нужно срочно менять.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Задача Правительства – довести к 2026 году площадь геолого-геофизической изученности с текущих 1,5 млн. до не менее 2 млн. 200 тысяч кв. км.»</a:t>
              </a: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3877721" y="1160406"/>
              <a:ext cx="4320952" cy="6076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7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 Послания народу Казахстана «Экономический курс справедливого Казахстана» от 1 сентября 2023г.:</a:t>
              </a: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278675" y="3772260"/>
            <a:ext cx="11660777" cy="2838091"/>
            <a:chOff x="5239505" y="1148702"/>
            <a:chExt cx="6876609" cy="2514306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5239506" y="1693251"/>
              <a:ext cx="6876608" cy="1969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Нужно создать благоприятные условия для повышения деловой активности через привлечение в экономику частных инвестиций. Для этого прежде всего необходима стабильная налоговая политика, стимулирующая качественное развитие и ответственное поведение бизнеса.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Важно постоянно работать над улучшением инвестиционного климата и условий для ведения бизнеса.»</a:t>
              </a:r>
            </a:p>
            <a:p>
              <a:pPr algn="just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6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В целом, задача Правительства и всех государственных органов – открыть дорогу отечественному бизнесу и иностранным инвесторам. … Предприниматели и инвесторы, в свою очередь, должны проявлять добропорядочность, соблюдать закон, не уходить от налогообложения.»</a:t>
              </a: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5239505" y="1148702"/>
              <a:ext cx="6876609" cy="5453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7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 Послания народу Казахстана «Справедливый Казахстан: закон и порядок, экономический рост, </a:t>
              </a:r>
            </a:p>
            <a:p>
              <a:pPr algn="just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sz="1700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бщественный оптимизм» от 2 сентября 2024г.:</a:t>
              </a: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pPr/>
              <a:t>1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505467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Особенности налогообложения недропользователей по корпоративному подоходному налогу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67832-E8B9-3B9E-A384-104D1FDEAB91}"/>
              </a:ext>
            </a:extLst>
          </p:cNvPr>
          <p:cNvSpPr txBox="1"/>
          <p:nvPr/>
        </p:nvSpPr>
        <p:spPr>
          <a:xfrm>
            <a:off x="219808" y="1409088"/>
            <a:ext cx="117025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дельная глава для добывающей отрасли. Для удобства пользования в различных параграфах - особые положения по определению доходов, по вычетам расходов недропользователей, в том числе выделение в отдельный параграф всех положений по вычету расходов на ГРР</a:t>
            </a: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C4E58C36-1810-FBBB-52C0-AAF7078F8E4F}"/>
              </a:ext>
            </a:extLst>
          </p:cNvPr>
          <p:cNvSpPr/>
          <p:nvPr/>
        </p:nvSpPr>
        <p:spPr>
          <a:xfrm>
            <a:off x="193432" y="993849"/>
            <a:ext cx="11728938" cy="37745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зменение структуры Налогового кодекса в разделе по КПН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BA5ADA1-87FA-937C-C09E-4E0E6B020460}"/>
              </a:ext>
            </a:extLst>
          </p:cNvPr>
          <p:cNvSpPr/>
          <p:nvPr/>
        </p:nvSpPr>
        <p:spPr>
          <a:xfrm>
            <a:off x="193432" y="2321151"/>
            <a:ext cx="11728938" cy="66572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имулирование ГРР в горнорудной и нефтегазовой отраслях через положения по вычету расходов на ГРР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193431" y="2986871"/>
            <a:ext cx="11702561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несение на вычеты расходов на ГРР в горнорудной отрасли через действующие контракты на добычу (независимо от успешности разведки)</a:t>
            </a:r>
          </a:p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несение на вычеты расходов на ГРР при исчислении совокупного годового дохода (СГД) по внеконтрактной деятельности (ВКД) при </a:t>
            </a:r>
            <a:r>
              <a:rPr lang="ru-RU" sz="16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успешной разведке</a:t>
            </a:r>
          </a:p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 прекращении действия контракта недропользователю предоставлено право выбора переноса накопленных расходов на другие контракты на недропользование или на ВКД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2EB14A19-4F9D-4966-800A-59858CEDB465}"/>
              </a:ext>
            </a:extLst>
          </p:cNvPr>
          <p:cNvSpPr/>
          <p:nvPr/>
        </p:nvSpPr>
        <p:spPr>
          <a:xfrm>
            <a:off x="193431" y="5073435"/>
            <a:ext cx="11702561" cy="65249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именение нулевой ставки НДПИ при </a:t>
            </a:r>
            <a:r>
              <a:rPr lang="en-US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IRR</a:t>
            </a:r>
            <a:r>
              <a:rPr lang="kk-KZ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не </a:t>
            </a:r>
            <a:r>
              <a:rPr lang="kk-KZ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ее</a:t>
            </a:r>
            <a:r>
              <a:rPr lang="kk-KZ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5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% на срок до 5 лет</a:t>
            </a:r>
            <a:r>
              <a:rPr lang="en-US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6AD3EF-3D51-425B-B5B2-0A817B1A8D97}"/>
              </a:ext>
            </a:extLst>
          </p:cNvPr>
          <p:cNvSpPr txBox="1"/>
          <p:nvPr/>
        </p:nvSpPr>
        <p:spPr>
          <a:xfrm>
            <a:off x="219808" y="5771575"/>
            <a:ext cx="117025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6213" lvl="4" indent="-176213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озможность применения по части </a:t>
            </a:r>
            <a:r>
              <a:rPr lang="ru-RU" sz="16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йствующих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сторождений, включаемых в перечень, утверждаемый Правительством РК, если промышленная добыча начинается после 2022 года.</a:t>
            </a:r>
          </a:p>
        </p:txBody>
      </p:sp>
    </p:spTree>
    <p:extLst>
      <p:ext uri="{BB962C8B-B14F-4D97-AF65-F5344CB8AC3E}">
        <p14:creationId xmlns:p14="http://schemas.microsoft.com/office/powerpoint/2010/main" val="26155513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горнорудной отрасли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93431" y="2616990"/>
            <a:ext cx="11755316" cy="5471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имулирование разработки техногенных минеральных образований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93431" y="3278414"/>
            <a:ext cx="11755316" cy="23185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ие понижающего коэффициента 0,1 к ставке НДПИ при извлечении твердых полезных ископаемых (ТПИ) из техногенных минеральных образований (ТМО)</a:t>
            </a: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ТМО изменен объект обложения НДПИ с объема добычи на объем реализации</a:t>
            </a: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Aft>
                <a:spcPts val="400"/>
              </a:spcAft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использовании ТМО как ОПИ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без извлечения из них ТПИ для собственных производственных нужд или реализации)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менение ставки НДПИ для ОПИ (0,02 МРП – 73,84 тенге на тонну /кг) </a:t>
            </a:r>
          </a:p>
          <a:p>
            <a:pPr marL="0" lvl="4" algn="just">
              <a:spcAft>
                <a:spcPts val="4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5157" y="993347"/>
            <a:ext cx="11755316" cy="54712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глашение о переработке ТП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B67832-E8B9-3B9E-A384-104D1FDEAB91}"/>
              </a:ext>
            </a:extLst>
          </p:cNvPr>
          <p:cNvSpPr txBox="1"/>
          <p:nvPr/>
        </p:nvSpPr>
        <p:spPr>
          <a:xfrm>
            <a:off x="219808" y="1626298"/>
            <a:ext cx="1170256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ля стимулирования переработки руды предусмотрено освобождение на 10 лет по ряду налогов: КПН, земельный налог, налог на имущество, НДС на импорт и таможенные пошлины на ввоз технологического оборудования</a:t>
            </a:r>
          </a:p>
        </p:txBody>
      </p:sp>
    </p:spTree>
    <p:extLst>
      <p:ext uri="{BB962C8B-B14F-4D97-AF65-F5344CB8AC3E}">
        <p14:creationId xmlns:p14="http://schemas.microsoft.com/office/powerpoint/2010/main" val="163762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нефтяной отрасл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409DC-A4F7-4B07-117A-AC4A0E450F95}"/>
              </a:ext>
            </a:extLst>
          </p:cNvPr>
          <p:cNvSpPr txBox="1"/>
          <p:nvPr/>
        </p:nvSpPr>
        <p:spPr>
          <a:xfrm>
            <a:off x="214199" y="1402353"/>
            <a:ext cx="1171135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решение 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</a:t>
            </a:r>
            <a:r>
              <a:rPr lang="ru-RU" sz="16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альтернативного налога на недропользование (режим АНН+) со встречными инвестиционными обязательствами если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есторождение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соответствует критериям 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стощающихся 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обводненность и </a:t>
            </a:r>
            <a:r>
              <a:rPr lang="ru-RU" sz="1200" i="1" kern="0" dirty="0" err="1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работанность</a:t>
            </a:r>
            <a:r>
              <a:rPr lang="ru-RU" sz="1200" i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, либо коэффициент извлечения нефти 0,4 и более);</a:t>
            </a:r>
            <a:endParaRPr lang="ru-RU" sz="16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ые обязательства </a:t>
            </a:r>
            <a:r>
              <a:rPr lang="ru-RU" sz="1600" i="1" kern="100" dirty="0">
                <a:latin typeface="Arial" pitchFamily="34" charset="0"/>
                <a:cs typeface="Arial" pitchFamily="34" charset="0"/>
              </a:rPr>
              <a:t>(согласно статье 153-1 Кодекса о недрах и недропользовании)</a:t>
            </a:r>
          </a:p>
          <a:p>
            <a:pPr marL="342900" lvl="4" indent="-342900" algn="just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контракт включается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онное обязательство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недропользователя</a:t>
            </a:r>
            <a:endParaRPr lang="ru-RU" sz="1600" i="1" kern="0" dirty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онным обязательством являются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полнительные инвестиции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разработку такого месторождения и (или)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полнительное финансирование социально-экономического развития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гиона </a:t>
            </a:r>
          </a:p>
          <a:p>
            <a:pPr marL="342900" lvl="4" indent="-342900" algn="just"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эффициент инвестирования 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истощающемуся месторождению устанавливается исходя из фактического годового объема добычи </a:t>
            </a:r>
            <a:r>
              <a:rPr lang="ru-RU" sz="1600" i="1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% от СГД)</a:t>
            </a:r>
            <a:endParaRPr lang="ru-RU" sz="1600" i="1" dirty="0">
              <a:solidFill>
                <a:srgbClr val="002060"/>
              </a:solidFill>
              <a:ea typeface="Tahoma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A8607F4-5519-96B0-2389-5F5816BFD067}"/>
              </a:ext>
            </a:extLst>
          </p:cNvPr>
          <p:cNvSpPr/>
          <p:nvPr/>
        </p:nvSpPr>
        <p:spPr>
          <a:xfrm>
            <a:off x="228602" y="1052739"/>
            <a:ext cx="11711354" cy="2820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имулирование разработки истощающихся (зрелых) месторожден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7D0913-9B78-4EE5-9D3F-DD5F97A36AB1}"/>
              </a:ext>
            </a:extLst>
          </p:cNvPr>
          <p:cNvSpPr txBox="1"/>
          <p:nvPr/>
        </p:nvSpPr>
        <p:spPr>
          <a:xfrm>
            <a:off x="228602" y="4391870"/>
            <a:ext cx="11784011" cy="6361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latin typeface="Arial" pitchFamily="34" charset="0"/>
                <a:cs typeface="Arial" pitchFamily="34" charset="0"/>
              </a:rPr>
              <a:t>Сжигание газа в объемах, разрешенных Кодексом «О недрах и недропользовании», будет облагаться НДПИ исходя из </a:t>
            </a:r>
            <a:r>
              <a:rPr lang="ru-RU" sz="1600" b="1" kern="100" dirty="0">
                <a:latin typeface="Arial" pitchFamily="34" charset="0"/>
                <a:cs typeface="Arial" pitchFamily="34" charset="0"/>
              </a:rPr>
              <a:t>производственной себестоимости</a:t>
            </a:r>
            <a:r>
              <a:rPr lang="ru-RU" sz="1600" kern="100" dirty="0">
                <a:latin typeface="Arial" pitchFamily="34" charset="0"/>
                <a:cs typeface="Arial" pitchFamily="34" charset="0"/>
              </a:rPr>
              <a:t>, не по мировым ценам</a:t>
            </a:r>
            <a:endParaRPr lang="ru-RU" sz="1600" i="1" dirty="0">
              <a:ea typeface="Tahoma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25C514C-27D2-4F2A-A549-B29FBCC7D5FC}"/>
              </a:ext>
            </a:extLst>
          </p:cNvPr>
          <p:cNvSpPr/>
          <p:nvPr/>
        </p:nvSpPr>
        <p:spPr>
          <a:xfrm>
            <a:off x="272455" y="4007739"/>
            <a:ext cx="11740158" cy="38413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алогообложение технологически неизбежно сжигаемого газа</a:t>
            </a:r>
            <a:endParaRPr lang="ru-RU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246C201-3BBC-41B0-9B91-60CF505E0756}"/>
              </a:ext>
            </a:extLst>
          </p:cNvPr>
          <p:cNvSpPr/>
          <p:nvPr/>
        </p:nvSpPr>
        <p:spPr>
          <a:xfrm>
            <a:off x="228602" y="5158615"/>
            <a:ext cx="11740158" cy="58268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чета расходов на геологическое изучение недр в последующих доходах от реализации геологической информаци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6B600C-8334-41E9-9277-5C9FB8DE9D3C}"/>
              </a:ext>
            </a:extLst>
          </p:cNvPr>
          <p:cNvSpPr txBox="1"/>
          <p:nvPr/>
        </p:nvSpPr>
        <p:spPr>
          <a:xfrm>
            <a:off x="168167" y="7037279"/>
            <a:ext cx="11740158" cy="934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бытки недропользователя, возникшие после завершения лицензии на геологическое изучение недр возможно покрыть последующими доходами от реализации полученной геологической информации в течение пятилетнего срока (срок конфиденциальности) в соответствии с Кодексом «О недрах и недропользовании»</a:t>
            </a:r>
            <a:endParaRPr lang="ru-RU" sz="1600" i="1" dirty="0">
              <a:solidFill>
                <a:srgbClr val="002060"/>
              </a:solidFill>
              <a:ea typeface="Tahoma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8A23F3-09A6-40AE-8B95-37ED4D9EC4EB}"/>
              </a:ext>
            </a:extLst>
          </p:cNvPr>
          <p:cNvSpPr txBox="1"/>
          <p:nvPr/>
        </p:nvSpPr>
        <p:spPr>
          <a:xfrm>
            <a:off x="185395" y="5805261"/>
            <a:ext cx="11740158" cy="6303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kern="100" dirty="0">
                <a:latin typeface="Arial" pitchFamily="34" charset="0"/>
                <a:cs typeface="Arial" pitchFamily="34" charset="0"/>
              </a:rPr>
              <a:t>Расходы на геологическое изучение недр, возможно покрыть последующими доходами от реализации полученной геологической информации в течение пятилетнего срока (юниорские компании)</a:t>
            </a:r>
          </a:p>
        </p:txBody>
      </p:sp>
    </p:spTree>
    <p:extLst>
      <p:ext uri="{BB962C8B-B14F-4D97-AF65-F5344CB8AC3E}">
        <p14:creationId xmlns:p14="http://schemas.microsoft.com/office/powerpoint/2010/main" val="36210666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о поступлениях в бюджет от недропользователей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295BC47-C863-1D60-39ED-67091C2372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590197"/>
              </p:ext>
            </p:extLst>
          </p:nvPr>
        </p:nvGraphicFramePr>
        <p:xfrm>
          <a:off x="165102" y="1492250"/>
          <a:ext cx="11847511" cy="459105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407922">
                  <a:extLst>
                    <a:ext uri="{9D8B030D-6E8A-4147-A177-3AD203B41FA5}">
                      <a16:colId xmlns:a16="http://schemas.microsoft.com/office/drawing/2014/main" val="2622604158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val="6290586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1295769057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val="1893656902"/>
                    </a:ext>
                  </a:extLst>
                </a:gridCol>
                <a:gridCol w="778851">
                  <a:extLst>
                    <a:ext uri="{9D8B030D-6E8A-4147-A177-3AD203B41FA5}">
                      <a16:colId xmlns:a16="http://schemas.microsoft.com/office/drawing/2014/main" val="400691065"/>
                    </a:ext>
                  </a:extLst>
                </a:gridCol>
                <a:gridCol w="883695">
                  <a:extLst>
                    <a:ext uri="{9D8B030D-6E8A-4147-A177-3AD203B41FA5}">
                      <a16:colId xmlns:a16="http://schemas.microsoft.com/office/drawing/2014/main" val="266555571"/>
                    </a:ext>
                  </a:extLst>
                </a:gridCol>
                <a:gridCol w="887441">
                  <a:extLst>
                    <a:ext uri="{9D8B030D-6E8A-4147-A177-3AD203B41FA5}">
                      <a16:colId xmlns:a16="http://schemas.microsoft.com/office/drawing/2014/main" val="3363403893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val="88128972"/>
                    </a:ext>
                  </a:extLst>
                </a:gridCol>
                <a:gridCol w="703960">
                  <a:extLst>
                    <a:ext uri="{9D8B030D-6E8A-4147-A177-3AD203B41FA5}">
                      <a16:colId xmlns:a16="http://schemas.microsoft.com/office/drawing/2014/main" val="199959241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2832940783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2817712118"/>
                    </a:ext>
                  </a:extLst>
                </a:gridCol>
                <a:gridCol w="793829">
                  <a:extLst>
                    <a:ext uri="{9D8B030D-6E8A-4147-A177-3AD203B41FA5}">
                      <a16:colId xmlns:a16="http://schemas.microsoft.com/office/drawing/2014/main" val="1668358473"/>
                    </a:ext>
                  </a:extLst>
                </a:gridCol>
                <a:gridCol w="797572">
                  <a:extLst>
                    <a:ext uri="{9D8B030D-6E8A-4147-A177-3AD203B41FA5}">
                      <a16:colId xmlns:a16="http://schemas.microsoft.com/office/drawing/2014/main" val="4065249757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val="2958635307"/>
                    </a:ext>
                  </a:extLst>
                </a:gridCol>
              </a:tblGrid>
              <a:tr h="36055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едропользователи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ол-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факт за 2021г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факт за 2022г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факт за 2023г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5112"/>
                  </a:ext>
                </a:extLst>
              </a:tr>
              <a:tr h="7777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7268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В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7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72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7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2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8339410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О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9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6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623292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54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0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0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593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36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3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95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2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6967213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6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5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9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8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14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34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84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32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4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7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731540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-СРП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4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741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6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70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11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70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5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3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760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356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5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9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3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1131755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 по 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9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20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316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8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60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 990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65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27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398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 205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291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57 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557 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4235974"/>
                  </a:ext>
                </a:extLst>
              </a:tr>
              <a:tr h="49325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ИТО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289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666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398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64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605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 027 </a:t>
                      </a:r>
                      <a:endParaRPr lang="ru-RU" sz="1600" b="1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857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73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398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 679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286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35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557 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12082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D79937FF-F04D-3C94-3D0E-6F338DA7155E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Налоговые поступ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ления</a:t>
            </a:r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 в  компетенции КГД</a:t>
            </a:r>
            <a:endParaRPr lang="ru-RU" sz="1800" b="1" i="0" u="none" strike="noStrike" dirty="0">
              <a:solidFill>
                <a:srgbClr val="002060"/>
              </a:solidFill>
              <a:effectLst/>
              <a:latin typeface="Bookman Old Style" panose="0205060405050502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3A6178-6774-816E-7DB7-C26C2A4CCAF6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тен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3791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783B1-B4DA-2F6F-9412-FF3FE63950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2642D353-C4B1-6966-2787-D71DADD9E229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о поступлениях в бюджет от недропользователей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6B0709B-6088-F6BE-7353-7E4603B3CD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9D7B317-677C-D794-F6E1-CCFB8D4872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603146"/>
              </p:ext>
            </p:extLst>
          </p:nvPr>
        </p:nvGraphicFramePr>
        <p:xfrm>
          <a:off x="165102" y="1492250"/>
          <a:ext cx="11847511" cy="457835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407922">
                  <a:extLst>
                    <a:ext uri="{9D8B030D-6E8A-4147-A177-3AD203B41FA5}">
                      <a16:colId xmlns:a16="http://schemas.microsoft.com/office/drawing/2014/main" val="2622604158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val="6290586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1295769057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val="1893656902"/>
                    </a:ext>
                  </a:extLst>
                </a:gridCol>
                <a:gridCol w="778851">
                  <a:extLst>
                    <a:ext uri="{9D8B030D-6E8A-4147-A177-3AD203B41FA5}">
                      <a16:colId xmlns:a16="http://schemas.microsoft.com/office/drawing/2014/main" val="400691065"/>
                    </a:ext>
                  </a:extLst>
                </a:gridCol>
                <a:gridCol w="883695">
                  <a:extLst>
                    <a:ext uri="{9D8B030D-6E8A-4147-A177-3AD203B41FA5}">
                      <a16:colId xmlns:a16="http://schemas.microsoft.com/office/drawing/2014/main" val="266555571"/>
                    </a:ext>
                  </a:extLst>
                </a:gridCol>
                <a:gridCol w="887441">
                  <a:extLst>
                    <a:ext uri="{9D8B030D-6E8A-4147-A177-3AD203B41FA5}">
                      <a16:colId xmlns:a16="http://schemas.microsoft.com/office/drawing/2014/main" val="3363403893"/>
                    </a:ext>
                  </a:extLst>
                </a:gridCol>
                <a:gridCol w="707705">
                  <a:extLst>
                    <a:ext uri="{9D8B030D-6E8A-4147-A177-3AD203B41FA5}">
                      <a16:colId xmlns:a16="http://schemas.microsoft.com/office/drawing/2014/main" val="88128972"/>
                    </a:ext>
                  </a:extLst>
                </a:gridCol>
                <a:gridCol w="703960">
                  <a:extLst>
                    <a:ext uri="{9D8B030D-6E8A-4147-A177-3AD203B41FA5}">
                      <a16:colId xmlns:a16="http://schemas.microsoft.com/office/drawing/2014/main" val="1999592411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2832940783"/>
                    </a:ext>
                  </a:extLst>
                </a:gridCol>
                <a:gridCol w="913651">
                  <a:extLst>
                    <a:ext uri="{9D8B030D-6E8A-4147-A177-3AD203B41FA5}">
                      <a16:colId xmlns:a16="http://schemas.microsoft.com/office/drawing/2014/main" val="2817712118"/>
                    </a:ext>
                  </a:extLst>
                </a:gridCol>
                <a:gridCol w="793829">
                  <a:extLst>
                    <a:ext uri="{9D8B030D-6E8A-4147-A177-3AD203B41FA5}">
                      <a16:colId xmlns:a16="http://schemas.microsoft.com/office/drawing/2014/main" val="1668358473"/>
                    </a:ext>
                  </a:extLst>
                </a:gridCol>
                <a:gridCol w="797572">
                  <a:extLst>
                    <a:ext uri="{9D8B030D-6E8A-4147-A177-3AD203B41FA5}">
                      <a16:colId xmlns:a16="http://schemas.microsoft.com/office/drawing/2014/main" val="4065249757"/>
                    </a:ext>
                  </a:extLst>
                </a:gridCol>
                <a:gridCol w="718939">
                  <a:extLst>
                    <a:ext uri="{9D8B030D-6E8A-4147-A177-3AD203B41FA5}">
                      <a16:colId xmlns:a16="http://schemas.microsoft.com/office/drawing/2014/main" val="2958635307"/>
                    </a:ext>
                  </a:extLst>
                </a:gridCol>
              </a:tblGrid>
              <a:tr h="359556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едропользователи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ол-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факт за 9мес. 2023г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факт за 9мес. 2024г.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отклонение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dirty="0"/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5112"/>
                  </a:ext>
                </a:extLst>
              </a:tr>
              <a:tr h="775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Р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МБ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Ф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7268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В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7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4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8339410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О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9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623292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454</a:t>
                      </a:r>
                      <a:endParaRPr lang="ru-RU" sz="1600" b="0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46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7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9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2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0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6967213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95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7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8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32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9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2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731540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УВС-СРП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4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94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5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60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4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18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9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14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1131755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 по УВС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19</a:t>
                      </a:r>
                      <a:endParaRPr lang="ru-RU" sz="1600" b="0" i="0" u="none" strike="noStrike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5 2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56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4 77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40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8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43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6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44235974"/>
                  </a:ext>
                </a:extLst>
              </a:tr>
              <a:tr h="49188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ИТОГ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6 289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Bookman Old Style" panose="02050604050505020204" pitchFamily="18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 0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03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3 3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2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45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8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5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8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5120820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24BD28C3-01F7-FDB8-7BBC-78E42BEB3246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Налоговые поступ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ления</a:t>
            </a:r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 в компетенции КГД</a:t>
            </a:r>
            <a:endParaRPr lang="ru-RU" sz="1800" b="1" i="0" u="none" strike="noStrike" dirty="0">
              <a:solidFill>
                <a:srgbClr val="002060"/>
              </a:solidFill>
              <a:effectLst/>
              <a:latin typeface="Bookman Old Style" panose="0205060405050502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6952BAB-EF01-4A01-95F1-8E9683002F93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тен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82115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о поступлениях в </a:t>
            </a:r>
            <a:r>
              <a:rPr lang="ru-RU" sz="2800" b="1">
                <a:latin typeface="Arial" panose="020B0604020202020204" pitchFamily="34" charset="0"/>
                <a:cs typeface="Arial" panose="020B0604020202020204" pitchFamily="34" charset="0"/>
              </a:rPr>
              <a:t>бюджет от недропользователей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9269413" y="632119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DFE57E30-D8E4-52D6-78BC-58B4D73F5A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291372"/>
              </p:ext>
            </p:extLst>
          </p:nvPr>
        </p:nvGraphicFramePr>
        <p:xfrm>
          <a:off x="165102" y="1492250"/>
          <a:ext cx="11645897" cy="232374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26692">
                  <a:extLst>
                    <a:ext uri="{9D8B030D-6E8A-4147-A177-3AD203B41FA5}">
                      <a16:colId xmlns:a16="http://schemas.microsoft.com/office/drawing/2014/main" val="2622604158"/>
                    </a:ext>
                  </a:extLst>
                </a:gridCol>
                <a:gridCol w="1085970">
                  <a:extLst>
                    <a:ext uri="{9D8B030D-6E8A-4147-A177-3AD203B41FA5}">
                      <a16:colId xmlns:a16="http://schemas.microsoft.com/office/drawing/2014/main" val="62905861"/>
                    </a:ext>
                  </a:extLst>
                </a:gridCol>
                <a:gridCol w="1380087">
                  <a:extLst>
                    <a:ext uri="{9D8B030D-6E8A-4147-A177-3AD203B41FA5}">
                      <a16:colId xmlns:a16="http://schemas.microsoft.com/office/drawing/2014/main" val="1295769057"/>
                    </a:ext>
                  </a:extLst>
                </a:gridCol>
                <a:gridCol w="1069001">
                  <a:extLst>
                    <a:ext uri="{9D8B030D-6E8A-4147-A177-3AD203B41FA5}">
                      <a16:colId xmlns:a16="http://schemas.microsoft.com/office/drawing/2014/main" val="1893656902"/>
                    </a:ext>
                  </a:extLst>
                </a:gridCol>
                <a:gridCol w="1176469">
                  <a:extLst>
                    <a:ext uri="{9D8B030D-6E8A-4147-A177-3AD203B41FA5}">
                      <a16:colId xmlns:a16="http://schemas.microsoft.com/office/drawing/2014/main" val="400691065"/>
                    </a:ext>
                  </a:extLst>
                </a:gridCol>
                <a:gridCol w="1334837">
                  <a:extLst>
                    <a:ext uri="{9D8B030D-6E8A-4147-A177-3AD203B41FA5}">
                      <a16:colId xmlns:a16="http://schemas.microsoft.com/office/drawing/2014/main" val="266555571"/>
                    </a:ext>
                  </a:extLst>
                </a:gridCol>
                <a:gridCol w="1340496">
                  <a:extLst>
                    <a:ext uri="{9D8B030D-6E8A-4147-A177-3AD203B41FA5}">
                      <a16:colId xmlns:a16="http://schemas.microsoft.com/office/drawing/2014/main" val="3363403893"/>
                    </a:ext>
                  </a:extLst>
                </a:gridCol>
                <a:gridCol w="1069001">
                  <a:extLst>
                    <a:ext uri="{9D8B030D-6E8A-4147-A177-3AD203B41FA5}">
                      <a16:colId xmlns:a16="http://schemas.microsoft.com/office/drawing/2014/main" val="88128972"/>
                    </a:ext>
                  </a:extLst>
                </a:gridCol>
                <a:gridCol w="1063344">
                  <a:extLst>
                    <a:ext uri="{9D8B030D-6E8A-4147-A177-3AD203B41FA5}">
                      <a16:colId xmlns:a16="http://schemas.microsoft.com/office/drawing/2014/main" val="1999592411"/>
                    </a:ext>
                  </a:extLst>
                </a:gridCol>
              </a:tblGrid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ПН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ДС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ПиН, в т.ч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ДПИ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Н, в т.ч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ЭТП на нефть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рочие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5112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1 г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5 66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090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-40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118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99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12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02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738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7268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2 г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1 0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8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-18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4 70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12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7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1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84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8339410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23 г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 67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 9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20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3 75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99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78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1 63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963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62329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AD12149-930E-0F71-800C-6806464BEA72}"/>
              </a:ext>
            </a:extLst>
          </p:cNvPr>
          <p:cNvSpPr txBox="1"/>
          <p:nvPr/>
        </p:nvSpPr>
        <p:spPr>
          <a:xfrm>
            <a:off x="993774" y="958047"/>
            <a:ext cx="95472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ctr"/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Налоговые поступ</a:t>
            </a:r>
            <a:r>
              <a:rPr lang="ru-RU" b="1" dirty="0">
                <a:solidFill>
                  <a:srgbClr val="002060"/>
                </a:solidFill>
                <a:latin typeface="Bookman Old Style" panose="02050604050505020204" pitchFamily="18" charset="0"/>
              </a:rPr>
              <a:t>ления</a:t>
            </a:r>
            <a:r>
              <a:rPr lang="ru-RU" sz="1800" b="1" u="none" strike="noStrike" dirty="0">
                <a:solidFill>
                  <a:srgbClr val="002060"/>
                </a:solidFill>
                <a:effectLst/>
                <a:latin typeface="Bookman Old Style" panose="02050604050505020204" pitchFamily="18" charset="0"/>
              </a:rPr>
              <a:t> в компетенции КГД</a:t>
            </a:r>
            <a:endParaRPr lang="ru-RU" sz="1800" b="1" i="0" u="none" strike="noStrike" dirty="0">
              <a:solidFill>
                <a:srgbClr val="002060"/>
              </a:solidFill>
              <a:effectLst/>
              <a:latin typeface="Bookman Old Style" panose="020506040505050202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EF9C6E7-6027-ACA5-EE97-1C049FE46083}"/>
              </a:ext>
            </a:extLst>
          </p:cNvPr>
          <p:cNvSpPr txBox="1"/>
          <p:nvPr/>
        </p:nvSpPr>
        <p:spPr>
          <a:xfrm>
            <a:off x="10540999" y="1043628"/>
            <a:ext cx="16510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400" i="1" dirty="0">
                <a:latin typeface="Bookman Old Style" panose="02050604050505020204" pitchFamily="18" charset="0"/>
              </a:rPr>
              <a:t>млрд. тенге</a:t>
            </a:r>
            <a:endParaRPr lang="ru-RU" sz="1400" i="1" dirty="0">
              <a:latin typeface="Bookman Old Style" panose="02050604050505020204" pitchFamily="18" charset="0"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68492D48-B1A5-E53C-98E7-F6D78515E9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2084096"/>
              </p:ext>
            </p:extLst>
          </p:nvPr>
        </p:nvGraphicFramePr>
        <p:xfrm>
          <a:off x="165103" y="4180013"/>
          <a:ext cx="11660181" cy="2323744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29301">
                  <a:extLst>
                    <a:ext uri="{9D8B030D-6E8A-4147-A177-3AD203B41FA5}">
                      <a16:colId xmlns:a16="http://schemas.microsoft.com/office/drawing/2014/main" val="2622604158"/>
                    </a:ext>
                  </a:extLst>
                </a:gridCol>
                <a:gridCol w="1087302">
                  <a:extLst>
                    <a:ext uri="{9D8B030D-6E8A-4147-A177-3AD203B41FA5}">
                      <a16:colId xmlns:a16="http://schemas.microsoft.com/office/drawing/2014/main" val="62905861"/>
                    </a:ext>
                  </a:extLst>
                </a:gridCol>
                <a:gridCol w="1381780">
                  <a:extLst>
                    <a:ext uri="{9D8B030D-6E8A-4147-A177-3AD203B41FA5}">
                      <a16:colId xmlns:a16="http://schemas.microsoft.com/office/drawing/2014/main" val="1295769057"/>
                    </a:ext>
                  </a:extLst>
                </a:gridCol>
                <a:gridCol w="1070312">
                  <a:extLst>
                    <a:ext uri="{9D8B030D-6E8A-4147-A177-3AD203B41FA5}">
                      <a16:colId xmlns:a16="http://schemas.microsoft.com/office/drawing/2014/main" val="1893656902"/>
                    </a:ext>
                  </a:extLst>
                </a:gridCol>
                <a:gridCol w="1177912">
                  <a:extLst>
                    <a:ext uri="{9D8B030D-6E8A-4147-A177-3AD203B41FA5}">
                      <a16:colId xmlns:a16="http://schemas.microsoft.com/office/drawing/2014/main" val="400691065"/>
                    </a:ext>
                  </a:extLst>
                </a:gridCol>
                <a:gridCol w="1336474">
                  <a:extLst>
                    <a:ext uri="{9D8B030D-6E8A-4147-A177-3AD203B41FA5}">
                      <a16:colId xmlns:a16="http://schemas.microsoft.com/office/drawing/2014/main" val="266555571"/>
                    </a:ext>
                  </a:extLst>
                </a:gridCol>
                <a:gridCol w="1342140">
                  <a:extLst>
                    <a:ext uri="{9D8B030D-6E8A-4147-A177-3AD203B41FA5}">
                      <a16:colId xmlns:a16="http://schemas.microsoft.com/office/drawing/2014/main" val="3363403893"/>
                    </a:ext>
                  </a:extLst>
                </a:gridCol>
                <a:gridCol w="1070312">
                  <a:extLst>
                    <a:ext uri="{9D8B030D-6E8A-4147-A177-3AD203B41FA5}">
                      <a16:colId xmlns:a16="http://schemas.microsoft.com/office/drawing/2014/main" val="88128972"/>
                    </a:ext>
                  </a:extLst>
                </a:gridCol>
                <a:gridCol w="1064648">
                  <a:extLst>
                    <a:ext uri="{9D8B030D-6E8A-4147-A177-3AD203B41FA5}">
                      <a16:colId xmlns:a16="http://schemas.microsoft.com/office/drawing/2014/main" val="1999592411"/>
                    </a:ext>
                  </a:extLst>
                </a:gridCol>
              </a:tblGrid>
              <a:tr h="5809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Всего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КПН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ДС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СПиН, в т.ч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НДПИ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ТПиН, в т.ч.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ЭТП на нефть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</a:rPr>
                        <a:t>прочие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5112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9 мес. 2023г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7 0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16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76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781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58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15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101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94 </a:t>
                      </a:r>
                    </a:p>
                  </a:txBody>
                  <a:tcPr marL="9525" marR="9525" marT="9525" marB="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7517268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9 мес. 2024г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6 23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90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6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2 7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27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8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 008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839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98339410"/>
                  </a:ext>
                </a:extLst>
              </a:tr>
              <a:tr h="580936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отклонение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80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25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54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2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312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12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C0000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-9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6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Bookman Old Style" panose="02050604050505020204" pitchFamily="18" charset="0"/>
                          <a:ea typeface="+mn-ea"/>
                          <a:cs typeface="+mn-cs"/>
                        </a:rPr>
                        <a:t>145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6232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20854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</TotalTime>
  <Words>1234</Words>
  <Application>Microsoft Office PowerPoint</Application>
  <PresentationFormat>Широкоэкранный</PresentationFormat>
  <Paragraphs>361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Bookman Old Style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dmin</dc:creator>
  <cp:lastModifiedBy>Нурлыбек Шаймаханов</cp:lastModifiedBy>
  <cp:revision>30</cp:revision>
  <cp:lastPrinted>2024-11-27T12:57:06Z</cp:lastPrinted>
  <dcterms:modified xsi:type="dcterms:W3CDTF">2024-11-27T12:58:10Z</dcterms:modified>
</cp:coreProperties>
</file>